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1" r:id="rId1"/>
    <p:sldMasterId id="2147483683" r:id="rId2"/>
    <p:sldMasterId id="2147483698" r:id="rId3"/>
    <p:sldMasterId id="2147483708" r:id="rId4"/>
    <p:sldMasterId id="2147483722" r:id="rId5"/>
  </p:sldMasterIdLst>
  <p:notesMasterIdLst>
    <p:notesMasterId r:id="rId25"/>
  </p:notesMasterIdLst>
  <p:sldIdLst>
    <p:sldId id="292" r:id="rId6"/>
    <p:sldId id="277" r:id="rId7"/>
    <p:sldId id="278" r:id="rId8"/>
    <p:sldId id="283" r:id="rId9"/>
    <p:sldId id="282" r:id="rId10"/>
    <p:sldId id="280" r:id="rId11"/>
    <p:sldId id="281" r:id="rId12"/>
    <p:sldId id="279" r:id="rId13"/>
    <p:sldId id="270" r:id="rId14"/>
    <p:sldId id="284" r:id="rId15"/>
    <p:sldId id="287" r:id="rId16"/>
    <p:sldId id="285" r:id="rId17"/>
    <p:sldId id="286" r:id="rId18"/>
    <p:sldId id="288" r:id="rId19"/>
    <p:sldId id="289" r:id="rId20"/>
    <p:sldId id="290" r:id="rId21"/>
    <p:sldId id="271" r:id="rId22"/>
    <p:sldId id="291" r:id="rId23"/>
    <p:sldId id="293" r:id="rId24"/>
  </p:sldIdLst>
  <p:sldSz cx="12192000" cy="6858000"/>
  <p:notesSz cx="6797675" cy="9872663"/>
  <p:embeddedFontLst>
    <p:embeddedFont>
      <p:font typeface="Nixie One" panose="020B0604020202020204" charset="0"/>
      <p:regular r:id="rId26"/>
    </p:embeddedFont>
    <p:embeddedFont>
      <p:font typeface="Calibri Light" panose="020F0302020204030204" pitchFamily="34" charset="0"/>
      <p:regular r:id="rId27"/>
      <p:italic r:id="rId28"/>
    </p:embeddedFont>
    <p:embeddedFont>
      <p:font typeface="Cambria" panose="02040503050406030204" pitchFamily="18" charset="0"/>
      <p:regular r:id="rId29"/>
      <p:bold r:id="rId30"/>
      <p:italic r:id="rId31"/>
      <p:boldItalic r:id="rId32"/>
    </p:embeddedFont>
    <p:embeddedFont>
      <p:font typeface="Corbel" panose="020B0503020204020204" pitchFamily="34" charset="0"/>
      <p:regular r:id="rId33"/>
      <p:bold r:id="rId34"/>
      <p:italic r:id="rId35"/>
      <p:boldItalic r:id="rId36"/>
    </p:embeddedFont>
    <p:embeddedFont>
      <p:font typeface="Raleway" panose="020B0604020202020204" charset="0"/>
      <p:regular r:id="rId37"/>
      <p:bold r:id="rId38"/>
      <p:italic r:id="rId39"/>
      <p:boldItalic r:id="rId40"/>
    </p:embeddedFont>
    <p:embeddedFont>
      <p:font typeface="Calibri" panose="020F0502020204030204" pitchFamily="34" charset="0"/>
      <p:regular r:id="rId41"/>
      <p:bold r:id="rId42"/>
      <p:italic r:id="rId43"/>
      <p:boldItalic r:id="rId4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7" clrIdx="0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F34115-5494-458A-87B9-3AD86FD8E5CF}">
  <a:tblStyle styleId="{4FF34115-5494-458A-87B9-3AD86FD8E5CF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band1H>
    <a:band1V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1V>
    <a:band2V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C68ABAD3-AA38-4938-9A59-5979D318BD6F}" styleName="Table_1"/>
  <a:tblStyle styleId="{E273B8A3-6E56-49E9-8828-CA5B83A79B5A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9EFF7"/>
          </a:solidFill>
        </a:fill>
      </a:tcStyle>
    </a:wholeTbl>
    <a:band1H>
      <a:tcStyle>
        <a:tcBdr/>
        <a:fill>
          <a:solidFill>
            <a:srgbClr val="D0DEEF"/>
          </a:solidFill>
        </a:fill>
      </a:tcStyle>
    </a:band1H>
    <a:band1V>
      <a:tcStyle>
        <a:tcBdr/>
        <a:fill>
          <a:solidFill>
            <a:srgbClr val="D0DEEF"/>
          </a:solidFill>
        </a:fill>
      </a:tcStyle>
    </a:band1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1" d="100"/>
          <a:sy n="71" d="100"/>
        </p:scale>
        <p:origin x="84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4.fntdata"/><Relationship Id="rId41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79769" y="4689487"/>
            <a:ext cx="5438139" cy="444268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376835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6958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79768" y="4751213"/>
            <a:ext cx="5438140" cy="38874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71" name="Shape 371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40119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79768" y="4751213"/>
            <a:ext cx="5438140" cy="38874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71" name="Shape 371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8674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Shape 383"/>
          <p:cNvSpPr txBox="1">
            <a:spLocks noGrp="1"/>
          </p:cNvSpPr>
          <p:nvPr>
            <p:ph type="body" idx="1"/>
          </p:nvPr>
        </p:nvSpPr>
        <p:spPr>
          <a:xfrm>
            <a:off x="679768" y="4751213"/>
            <a:ext cx="5438140" cy="38874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84" name="Shape 384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6231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 txBox="1">
            <a:spLocks noGrp="1"/>
          </p:cNvSpPr>
          <p:nvPr>
            <p:ph type="ctrTitle"/>
          </p:nvPr>
        </p:nvSpPr>
        <p:spPr>
          <a:xfrm>
            <a:off x="1524000" y="1041400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5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64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spcBef>
                <a:spcPts val="56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7" name="Shape 1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" name="Shape 1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" name="Shape 1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" name="Shape 1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Shape 1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3" name="Shape 1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" name="Shape 124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" name="Shape 1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" name="Shape 1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" name="Shape 1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 txBox="1">
            <a:spLocks noGrp="1"/>
          </p:cNvSpPr>
          <p:nvPr>
            <p:ph type="ctrTitle"/>
          </p:nvPr>
        </p:nvSpPr>
        <p:spPr>
          <a:xfrm>
            <a:off x="1524000" y="1122362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48" name="Shape 148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9" name="Shape 14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0" name="Shape 1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1" name="Shape 15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54" name="Shape 154"/>
          <p:cNvSpPr txBox="1">
            <a:spLocks noGrp="1"/>
          </p:cNvSpPr>
          <p:nvPr>
            <p:ph type="body" idx="1"/>
          </p:nvPr>
        </p:nvSpPr>
        <p:spPr>
          <a:xfrm>
            <a:off x="831850" y="4589462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rgbClr val="888888"/>
              </a:buClr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5" name="Shape 15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6" name="Shape 1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7" name="Shape 15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Shape 159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body" idx="1"/>
          </p:nvPr>
        </p:nvSpPr>
        <p:spPr>
          <a:xfrm>
            <a:off x="839787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1" name="Shape 161"/>
          <p:cNvSpPr txBox="1">
            <a:spLocks noGrp="1"/>
          </p:cNvSpPr>
          <p:nvPr>
            <p:ph type="body" idx="2"/>
          </p:nvPr>
        </p:nvSpPr>
        <p:spPr>
          <a:xfrm>
            <a:off x="839787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2" name="Shape 16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" name="Shape 16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" name="Shape 16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5" name="Shape 16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69" name="Shape 16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0" name="Shape 17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Shape 173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74" name="Shape 174"/>
          <p:cNvSpPr txBox="1">
            <a:spLocks noGrp="1"/>
          </p:cNvSpPr>
          <p:nvPr>
            <p:ph type="body" idx="1"/>
          </p:nvPr>
        </p:nvSpPr>
        <p:spPr>
          <a:xfrm>
            <a:off x="5183187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254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508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2"/>
          </p:nvPr>
        </p:nvSpPr>
        <p:spPr>
          <a:xfrm>
            <a:off x="839787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6" name="Shape 17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7" name="Shape 17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8" name="Shape 17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Shape 180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81" name="Shape 181"/>
          <p:cNvSpPr>
            <a:spLocks noGrp="1"/>
          </p:cNvSpPr>
          <p:nvPr>
            <p:ph type="pic" idx="2"/>
          </p:nvPr>
        </p:nvSpPr>
        <p:spPr>
          <a:xfrm>
            <a:off x="5183187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2" name="Shape 182"/>
          <p:cNvSpPr txBox="1">
            <a:spLocks noGrp="1"/>
          </p:cNvSpPr>
          <p:nvPr>
            <p:ph type="body" idx="1"/>
          </p:nvPr>
        </p:nvSpPr>
        <p:spPr>
          <a:xfrm>
            <a:off x="839787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3" name="Shape 18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" name="Shape 18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" name="Shape 18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le and Vertical Tex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Shape 18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88" name="Shape 188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9" name="Shape 18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4" name="Shape 194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" name="Shape 19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" name="Shape 19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" name="Shape 19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838200" y="1820863"/>
            <a:ext cx="5181600" cy="43513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6510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3335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body" idx="2"/>
          </p:nvPr>
        </p:nvSpPr>
        <p:spPr>
          <a:xfrm>
            <a:off x="6172200" y="1820863"/>
            <a:ext cx="5181600" cy="43513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6510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3335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1093201" y="3867025"/>
            <a:ext cx="9395999" cy="15465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72252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 txBox="1">
            <a:spLocks noGrp="1"/>
          </p:cNvSpPr>
          <p:nvPr>
            <p:ph type="ctrTitle"/>
          </p:nvPr>
        </p:nvSpPr>
        <p:spPr>
          <a:xfrm>
            <a:off x="914400" y="3482725"/>
            <a:ext cx="7500000" cy="1546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ubTitle" idx="1"/>
          </p:nvPr>
        </p:nvSpPr>
        <p:spPr>
          <a:xfrm>
            <a:off x="914400" y="5158346"/>
            <a:ext cx="7500000" cy="104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Font typeface="Nixie One"/>
              <a:buNone/>
              <a:defRPr b="1">
                <a:latin typeface="Nixie One"/>
                <a:ea typeface="Nixie One"/>
                <a:cs typeface="Nixie One"/>
                <a:sym typeface="Nixie One"/>
              </a:defRPr>
            </a:lvl1pPr>
            <a:lvl2pPr lvl="1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2pPr>
            <a:lvl3pPr lvl="2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3pPr>
            <a:lvl4pPr lvl="3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4pPr>
            <a:lvl5pPr lvl="4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5pPr>
            <a:lvl6pPr lvl="5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6pPr>
            <a:lvl7pPr lvl="6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7pPr>
            <a:lvl8pPr lvl="7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8pPr>
            <a:lvl9pPr lvl="8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59916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/>
          <p:nvPr/>
        </p:nvSpPr>
        <p:spPr>
          <a:xfrm>
            <a:off x="5624401" y="0"/>
            <a:ext cx="943199" cy="2523000"/>
          </a:xfrm>
          <a:prstGeom prst="rect">
            <a:avLst/>
          </a:prstGeom>
          <a:solidFill>
            <a:srgbClr val="B0E0E6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1"/>
          </p:nvPr>
        </p:nvSpPr>
        <p:spPr>
          <a:xfrm>
            <a:off x="1756000" y="2882401"/>
            <a:ext cx="8680000" cy="10931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/>
            </a:lvl1pPr>
            <a:lvl2pPr lvl="1" algn="ctr" rtl="0">
              <a:spcBef>
                <a:spcPts val="0"/>
              </a:spcBef>
              <a:defRPr/>
            </a:lvl2pPr>
            <a:lvl3pPr lvl="2" algn="ctr" rtl="0">
              <a:spcBef>
                <a:spcPts val="0"/>
              </a:spcBef>
              <a:defRPr/>
            </a:lvl3pPr>
            <a:lvl4pPr lvl="3" algn="ctr" rtl="0">
              <a:spcBef>
                <a:spcPts val="0"/>
              </a:spcBef>
              <a:defRPr/>
            </a:lvl4pPr>
            <a:lvl5pPr lvl="4" algn="ctr" rtl="0">
              <a:spcBef>
                <a:spcPts val="0"/>
              </a:spcBef>
              <a:defRPr/>
            </a:lvl5pPr>
            <a:lvl6pPr lvl="5" algn="ctr" rtl="0">
              <a:spcBef>
                <a:spcPts val="0"/>
              </a:spcBef>
              <a:defRPr/>
            </a:lvl6pPr>
            <a:lvl7pPr lvl="6" algn="ctr" rtl="0">
              <a:spcBef>
                <a:spcPts val="0"/>
              </a:spcBef>
              <a:defRPr/>
            </a:lvl7pPr>
            <a:lvl8pPr lvl="7" algn="ctr" rtl="0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6" name="Shape 16"/>
          <p:cNvSpPr txBox="1"/>
          <p:nvPr/>
        </p:nvSpPr>
        <p:spPr>
          <a:xfrm>
            <a:off x="4791200" y="1651425"/>
            <a:ext cx="2609600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600">
                <a:solidFill>
                  <a:srgbClr val="DC143C"/>
                </a:solidFill>
                <a:latin typeface="Nixie One"/>
                <a:ea typeface="Nixie One"/>
                <a:cs typeface="Nixie One"/>
                <a:sym typeface="Nixie One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9238515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46586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+ 2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53260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6256364" y="1600200"/>
            <a:ext cx="53260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94895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3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body" idx="2"/>
          </p:nvPr>
        </p:nvSpPr>
        <p:spPr>
          <a:xfrm>
            <a:off x="4298621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body" idx="3"/>
          </p:nvPr>
        </p:nvSpPr>
        <p:spPr>
          <a:xfrm>
            <a:off x="7987643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0693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609600" y="458074"/>
            <a:ext cx="10972800" cy="618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581379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body" idx="1"/>
          </p:nvPr>
        </p:nvSpPr>
        <p:spPr>
          <a:xfrm>
            <a:off x="609600" y="5875078"/>
            <a:ext cx="10972800" cy="69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05111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6951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962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831850" y="274637"/>
            <a:ext cx="10515599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831850" y="1535112"/>
            <a:ext cx="5156199" cy="6397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36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831850" y="2174875"/>
            <a:ext cx="5156199" cy="39973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905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5875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3"/>
          </p:nvPr>
        </p:nvSpPr>
        <p:spPr>
          <a:xfrm>
            <a:off x="6189662" y="1535112"/>
            <a:ext cx="5157787" cy="6397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36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body" idx="4"/>
          </p:nvPr>
        </p:nvSpPr>
        <p:spPr>
          <a:xfrm>
            <a:off x="6189662" y="2174875"/>
            <a:ext cx="5157787" cy="39973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905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5875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8901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33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9664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890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787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321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4835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0767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45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66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46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2280567" y="2882401"/>
            <a:ext cx="7631599" cy="10931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 i="1"/>
            </a:lvl1pPr>
            <a:lvl2pPr lvl="1" algn="ctr" rtl="0">
              <a:spcBef>
                <a:spcPts val="0"/>
              </a:spcBef>
              <a:defRPr i="1"/>
            </a:lvl2pPr>
            <a:lvl3pPr lvl="2" algn="ctr" rtl="0">
              <a:spcBef>
                <a:spcPts val="0"/>
              </a:spcBef>
              <a:defRPr i="1"/>
            </a:lvl3pPr>
            <a:lvl4pPr lvl="3" algn="ctr" rtl="0">
              <a:spcBef>
                <a:spcPts val="0"/>
              </a:spcBef>
              <a:defRPr i="1"/>
            </a:lvl4pPr>
            <a:lvl5pPr lvl="4" algn="ctr" rtl="0">
              <a:spcBef>
                <a:spcPts val="0"/>
              </a:spcBef>
              <a:defRPr i="1"/>
            </a:lvl5pPr>
            <a:lvl6pPr lvl="5" algn="ctr" rtl="0">
              <a:spcBef>
                <a:spcPts val="0"/>
              </a:spcBef>
              <a:defRPr i="1"/>
            </a:lvl6pPr>
            <a:lvl7pPr lvl="6" algn="ctr" rtl="0">
              <a:spcBef>
                <a:spcPts val="0"/>
              </a:spcBef>
              <a:defRPr i="1"/>
            </a:lvl7pPr>
            <a:lvl8pPr lvl="7" algn="ctr" rtl="0">
              <a:spcBef>
                <a:spcPts val="0"/>
              </a:spcBef>
              <a:defRPr i="1"/>
            </a:lvl8pPr>
            <a:lvl9pPr lvl="8" algn="ctr">
              <a:spcBef>
                <a:spcPts val="0"/>
              </a:spcBef>
              <a:defRPr i="1"/>
            </a:lvl9pPr>
          </a:lstStyle>
          <a:p>
            <a:endParaRPr/>
          </a:p>
        </p:txBody>
      </p:sp>
      <p:sp>
        <p:nvSpPr>
          <p:cNvPr id="23" name="Shape 23"/>
          <p:cNvSpPr txBox="1"/>
          <p:nvPr/>
        </p:nvSpPr>
        <p:spPr>
          <a:xfrm>
            <a:off x="4791200" y="1575226"/>
            <a:ext cx="2609600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600" b="1" kern="1200">
                <a:solidFill>
                  <a:srgbClr val="97ABBC"/>
                </a:solidFill>
                <a:latin typeface="Calibri" panose="020F0502020204030204"/>
                <a:ea typeface="+mn-ea"/>
                <a:cs typeface="+mn-cs"/>
              </a:rPr>
              <a:t>“</a:t>
            </a:r>
          </a:p>
        </p:txBody>
      </p:sp>
      <p:sp>
        <p:nvSpPr>
          <p:cNvPr id="24" name="Shape 24"/>
          <p:cNvSpPr/>
          <p:nvPr/>
        </p:nvSpPr>
        <p:spPr>
          <a:xfrm>
            <a:off x="7631044" y="2132901"/>
            <a:ext cx="2280400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hape 25"/>
          <p:cNvSpPr/>
          <p:nvPr/>
        </p:nvSpPr>
        <p:spPr>
          <a:xfrm>
            <a:off x="9912235" y="2132901"/>
            <a:ext cx="2280400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hape 26"/>
          <p:cNvSpPr/>
          <p:nvPr/>
        </p:nvSpPr>
        <p:spPr>
          <a:xfrm>
            <a:off x="0" y="2132901"/>
            <a:ext cx="22804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Shape 27"/>
          <p:cNvSpPr/>
          <p:nvPr/>
        </p:nvSpPr>
        <p:spPr>
          <a:xfrm>
            <a:off x="2280565" y="2132901"/>
            <a:ext cx="22804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9791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1191600" y="274650"/>
            <a:ext cx="8616800" cy="1143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1191600" y="1831451"/>
            <a:ext cx="8616800" cy="473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/>
          <p:nvPr/>
        </p:nvSpPr>
        <p:spPr>
          <a:xfrm>
            <a:off x="9808489" y="6755101"/>
            <a:ext cx="1191599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Shape 32"/>
          <p:cNvSpPr/>
          <p:nvPr/>
        </p:nvSpPr>
        <p:spPr>
          <a:xfrm>
            <a:off x="11000415" y="6755101"/>
            <a:ext cx="1191599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Shape 33"/>
          <p:cNvSpPr/>
          <p:nvPr/>
        </p:nvSpPr>
        <p:spPr>
          <a:xfrm>
            <a:off x="1" y="6755101"/>
            <a:ext cx="11915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Shape 34"/>
          <p:cNvSpPr/>
          <p:nvPr/>
        </p:nvSpPr>
        <p:spPr>
          <a:xfrm>
            <a:off x="1191612" y="6755101"/>
            <a:ext cx="86168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5951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4928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686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385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2790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1087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882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6175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163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8041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023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1/0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5951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2280567" y="2882401"/>
            <a:ext cx="7631599" cy="10931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 i="1"/>
            </a:lvl1pPr>
            <a:lvl2pPr lvl="1" algn="ctr" rtl="0">
              <a:spcBef>
                <a:spcPts val="0"/>
              </a:spcBef>
              <a:defRPr i="1"/>
            </a:lvl2pPr>
            <a:lvl3pPr lvl="2" algn="ctr" rtl="0">
              <a:spcBef>
                <a:spcPts val="0"/>
              </a:spcBef>
              <a:defRPr i="1"/>
            </a:lvl3pPr>
            <a:lvl4pPr lvl="3" algn="ctr" rtl="0">
              <a:spcBef>
                <a:spcPts val="0"/>
              </a:spcBef>
              <a:defRPr i="1"/>
            </a:lvl4pPr>
            <a:lvl5pPr lvl="4" algn="ctr" rtl="0">
              <a:spcBef>
                <a:spcPts val="0"/>
              </a:spcBef>
              <a:defRPr i="1"/>
            </a:lvl5pPr>
            <a:lvl6pPr lvl="5" algn="ctr" rtl="0">
              <a:spcBef>
                <a:spcPts val="0"/>
              </a:spcBef>
              <a:defRPr i="1"/>
            </a:lvl6pPr>
            <a:lvl7pPr lvl="6" algn="ctr" rtl="0">
              <a:spcBef>
                <a:spcPts val="0"/>
              </a:spcBef>
              <a:defRPr i="1"/>
            </a:lvl7pPr>
            <a:lvl8pPr lvl="7" algn="ctr" rtl="0">
              <a:spcBef>
                <a:spcPts val="0"/>
              </a:spcBef>
              <a:defRPr i="1"/>
            </a:lvl8pPr>
            <a:lvl9pPr lvl="8" algn="ctr">
              <a:spcBef>
                <a:spcPts val="0"/>
              </a:spcBef>
              <a:defRPr i="1"/>
            </a:lvl9pPr>
          </a:lstStyle>
          <a:p>
            <a:endParaRPr/>
          </a:p>
        </p:txBody>
      </p:sp>
      <p:sp>
        <p:nvSpPr>
          <p:cNvPr id="23" name="Shape 23"/>
          <p:cNvSpPr txBox="1"/>
          <p:nvPr/>
        </p:nvSpPr>
        <p:spPr>
          <a:xfrm>
            <a:off x="4791200" y="1575226"/>
            <a:ext cx="2609600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600" b="1" kern="1200">
                <a:solidFill>
                  <a:srgbClr val="97ABBC"/>
                </a:solidFill>
                <a:latin typeface="Calibri" panose="020F0502020204030204"/>
                <a:ea typeface="+mn-ea"/>
                <a:cs typeface="+mn-cs"/>
              </a:rPr>
              <a:t>“</a:t>
            </a:r>
          </a:p>
        </p:txBody>
      </p:sp>
      <p:sp>
        <p:nvSpPr>
          <p:cNvPr id="24" name="Shape 24"/>
          <p:cNvSpPr/>
          <p:nvPr/>
        </p:nvSpPr>
        <p:spPr>
          <a:xfrm>
            <a:off x="7631044" y="2132901"/>
            <a:ext cx="2280400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hape 25"/>
          <p:cNvSpPr/>
          <p:nvPr/>
        </p:nvSpPr>
        <p:spPr>
          <a:xfrm>
            <a:off x="9912235" y="2132901"/>
            <a:ext cx="2280400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hape 26"/>
          <p:cNvSpPr/>
          <p:nvPr/>
        </p:nvSpPr>
        <p:spPr>
          <a:xfrm>
            <a:off x="0" y="2132901"/>
            <a:ext cx="22804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Shape 27"/>
          <p:cNvSpPr/>
          <p:nvPr/>
        </p:nvSpPr>
        <p:spPr>
          <a:xfrm>
            <a:off x="2280565" y="2132901"/>
            <a:ext cx="22804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2683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1191600" y="274650"/>
            <a:ext cx="8616800" cy="1143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1191600" y="1831451"/>
            <a:ext cx="8616800" cy="473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/>
          <p:nvPr/>
        </p:nvSpPr>
        <p:spPr>
          <a:xfrm>
            <a:off x="9808489" y="6755101"/>
            <a:ext cx="1191599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Shape 32"/>
          <p:cNvSpPr/>
          <p:nvPr/>
        </p:nvSpPr>
        <p:spPr>
          <a:xfrm>
            <a:off x="11000415" y="6755101"/>
            <a:ext cx="1191599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Shape 33"/>
          <p:cNvSpPr/>
          <p:nvPr/>
        </p:nvSpPr>
        <p:spPr>
          <a:xfrm>
            <a:off x="1" y="6755101"/>
            <a:ext cx="11915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Shape 34"/>
          <p:cNvSpPr/>
          <p:nvPr/>
        </p:nvSpPr>
        <p:spPr>
          <a:xfrm>
            <a:off x="1191612" y="6755101"/>
            <a:ext cx="86168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351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831850" y="685800"/>
            <a:ext cx="4013200" cy="11604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body" idx="1"/>
          </p:nvPr>
        </p:nvSpPr>
        <p:spPr>
          <a:xfrm>
            <a:off x="5046662" y="685800"/>
            <a:ext cx="6300787" cy="5486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body" idx="2"/>
          </p:nvPr>
        </p:nvSpPr>
        <p:spPr>
          <a:xfrm>
            <a:off x="831850" y="1846263"/>
            <a:ext cx="4013200" cy="432593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28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24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2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Shape 59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 txBox="1">
            <a:spLocks noGrp="1"/>
          </p:cNvSpPr>
          <p:nvPr>
            <p:ph type="title"/>
          </p:nvPr>
        </p:nvSpPr>
        <p:spPr>
          <a:xfrm>
            <a:off x="2505075" y="4800600"/>
            <a:ext cx="7177087" cy="56673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3" name="Shape 63"/>
          <p:cNvSpPr>
            <a:spLocks noGrp="1"/>
          </p:cNvSpPr>
          <p:nvPr>
            <p:ph type="pic" idx="2"/>
          </p:nvPr>
        </p:nvSpPr>
        <p:spPr>
          <a:xfrm>
            <a:off x="2505075" y="685800"/>
            <a:ext cx="7177087" cy="40417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64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56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2505075" y="5367337"/>
            <a:ext cx="7177087" cy="8048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28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24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2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le and Vertical 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61268"/>
            <a:ext cx="4351336" cy="10515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Shape 7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 rot="5400000">
            <a:off x="7090568" y="1908969"/>
            <a:ext cx="5897562" cy="2628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body" idx="1"/>
          </p:nvPr>
        </p:nvSpPr>
        <p:spPr>
          <a:xfrm rot="5400000">
            <a:off x="1756568" y="-643730"/>
            <a:ext cx="5897562" cy="7734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" name="Shape 7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838200" y="1820863"/>
            <a:ext cx="10515599" cy="43513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Shape 9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1" name="Shape 1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" name="Shape 1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3" name="Shape 1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4" name="Shape 1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1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buClr>
                <a:srgbClr val="FFFFFF"/>
              </a:buClr>
              <a:buSzPct val="100000"/>
              <a:buFont typeface="Raleway"/>
              <a:buChar char="◎"/>
              <a:defRPr sz="2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480"/>
              </a:spcBef>
              <a:buClr>
                <a:srgbClr val="FFFFFF"/>
              </a:buClr>
              <a:buSzPct val="100000"/>
              <a:buFont typeface="Raleway"/>
              <a:defRPr sz="24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480"/>
              </a:spcBef>
              <a:buClr>
                <a:srgbClr val="FFFFFF"/>
              </a:buClr>
              <a:buSzPct val="100000"/>
              <a:buFont typeface="Raleway"/>
              <a:defRPr sz="24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18114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4FBD0E-3C50-402E-B530-EAA0D42F9F7B}" type="datetimeFigureOut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31/01/2017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FC6CE4-D494-44A5-9A4A-A498CA4AACDF}" type="slidenum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‹#›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7369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4FBD0E-3C50-402E-B530-EAA0D42F9F7B}" type="datetimeFigureOut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31/01/2017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FC6CE4-D494-44A5-9A4A-A498CA4AACDF}" type="slidenum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‹#›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142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Elnaz.Kashef@educationandemployers.org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45.xml"/><Relationship Id="rId4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www.educatioandemployers.org/research" TargetMode="External"/><Relationship Id="rId2" Type="http://schemas.openxmlformats.org/officeDocument/2006/relationships/hyperlink" Target="mailto:Elnaz.kashef@educationandemployers.org" TargetMode="Externa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.jp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3"/>
          <p:cNvSpPr txBox="1">
            <a:spLocks noGrp="1"/>
          </p:cNvSpPr>
          <p:nvPr>
            <p:ph type="body" idx="1"/>
          </p:nvPr>
        </p:nvSpPr>
        <p:spPr>
          <a:xfrm>
            <a:off x="368970" y="1513204"/>
            <a:ext cx="5151720" cy="217532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sz="35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How well do schools and colleges </a:t>
            </a:r>
            <a:r>
              <a:rPr lang="en-GB" sz="35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prepare </a:t>
            </a:r>
            <a:r>
              <a:rPr lang="en-GB" sz="35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oday’s young adults for the working world?</a:t>
            </a:r>
          </a:p>
        </p:txBody>
      </p:sp>
      <p:sp>
        <p:nvSpPr>
          <p:cNvPr id="10" name="Shape 205"/>
          <p:cNvSpPr txBox="1"/>
          <p:nvPr/>
        </p:nvSpPr>
        <p:spPr>
          <a:xfrm>
            <a:off x="368970" y="5531575"/>
            <a:ext cx="5151720" cy="95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dirty="0">
                <a:solidFill>
                  <a:schemeClr val="bg1"/>
                </a:solidFill>
              </a:rPr>
              <a:t>Presentation at </a:t>
            </a:r>
            <a:r>
              <a:rPr lang="en-GB" dirty="0" err="1">
                <a:solidFill>
                  <a:schemeClr val="bg1"/>
                </a:solidFill>
              </a:rPr>
              <a:t>DfE</a:t>
            </a:r>
            <a:r>
              <a:rPr lang="en-GB" dirty="0">
                <a:solidFill>
                  <a:schemeClr val="bg1"/>
                </a:solidFill>
              </a:rPr>
              <a:t> February 2017</a:t>
            </a:r>
          </a:p>
          <a:p>
            <a:pPr lvl="0">
              <a:spcBef>
                <a:spcPts val="0"/>
              </a:spcBef>
              <a:buNone/>
            </a:pPr>
            <a:endParaRPr lang="en-GB" dirty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buNone/>
            </a:pPr>
            <a:r>
              <a:rPr lang="en-GB" dirty="0">
                <a:solidFill>
                  <a:schemeClr val="bg1"/>
                </a:solidFill>
              </a:rPr>
              <a:t>@</a:t>
            </a:r>
            <a:r>
              <a:rPr lang="en-GB" dirty="0" err="1">
                <a:solidFill>
                  <a:schemeClr val="bg1"/>
                </a:solidFill>
              </a:rPr>
              <a:t>Edu_EResearch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Shape 203"/>
          <p:cNvSpPr txBox="1">
            <a:spLocks/>
          </p:cNvSpPr>
          <p:nvPr/>
        </p:nvSpPr>
        <p:spPr>
          <a:xfrm>
            <a:off x="368970" y="4011931"/>
            <a:ext cx="6831930" cy="14173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Char char="◎"/>
              <a:defRPr sz="2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</a:rPr>
              <a:t>Dr Elnaz T. </a:t>
            </a:r>
            <a:r>
              <a:rPr lang="en-GB" sz="1700" dirty="0" err="1">
                <a:solidFill>
                  <a:schemeClr val="bg1"/>
                </a:solidFill>
              </a:rPr>
              <a:t>Kashefpakdel</a:t>
            </a:r>
            <a:endParaRPr lang="en-GB" sz="1700" dirty="0">
              <a:solidFill>
                <a:schemeClr val="bg1"/>
              </a:solidFill>
            </a:endParaRPr>
          </a:p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</a:rPr>
              <a:t>Senior Researcher |  Education and Employers </a:t>
            </a:r>
          </a:p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  <a:hlinkClick r:id="rId2"/>
              </a:rPr>
              <a:t>Elnaz.Kashef@educationandemployers.org</a:t>
            </a:r>
            <a:endParaRPr lang="en-GB" sz="1700" dirty="0">
              <a:solidFill>
                <a:schemeClr val="bg1"/>
              </a:solidFill>
            </a:endParaRPr>
          </a:p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3" name="Shape 2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0765" y="152243"/>
            <a:ext cx="2794200" cy="953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946" y="1368232"/>
            <a:ext cx="6725054" cy="4495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803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11582400" cy="2425700"/>
          </a:xfrm>
        </p:spPr>
        <p:txBody>
          <a:bodyPr>
            <a:noAutofit/>
          </a:bodyPr>
          <a:lstStyle/>
          <a:p>
            <a:r>
              <a:rPr lang="en-GB" sz="2300" dirty="0">
                <a:solidFill>
                  <a:srgbClr val="FF0000"/>
                </a:solidFill>
              </a:rPr>
              <a:t>a)</a:t>
            </a:r>
            <a:r>
              <a:rPr lang="en-GB" sz="2300" dirty="0"/>
              <a:t> Most employer engagement </a:t>
            </a:r>
            <a:r>
              <a:rPr lang="en-GB" sz="2300" b="1" dirty="0"/>
              <a:t>wasn’t helpful</a:t>
            </a:r>
            <a:r>
              <a:rPr lang="en-GB" sz="2300" dirty="0"/>
              <a:t> in </a:t>
            </a:r>
            <a:r>
              <a:rPr lang="en-GB" sz="2300" u="sng" dirty="0">
                <a:solidFill>
                  <a:srgbClr val="0070C0"/>
                </a:solidFill>
              </a:rPr>
              <a:t>making decisions </a:t>
            </a:r>
            <a:r>
              <a:rPr lang="en-GB" sz="2300" dirty="0"/>
              <a:t>at age 16 </a:t>
            </a:r>
            <a:r>
              <a:rPr lang="en-GB" sz="2300" b="1" dirty="0"/>
              <a:t>unless </a:t>
            </a:r>
            <a:r>
              <a:rPr lang="en-GB" sz="2300" dirty="0"/>
              <a:t>teenagers recalled </a:t>
            </a:r>
            <a:r>
              <a:rPr lang="en-GB" sz="2300" b="1" dirty="0"/>
              <a:t>4+ activities</a:t>
            </a:r>
            <a:r>
              <a:rPr lang="en-GB" sz="2300" dirty="0"/>
              <a:t/>
            </a:r>
            <a:br>
              <a:rPr lang="en-GB" sz="2300" dirty="0"/>
            </a:br>
            <a:r>
              <a:rPr lang="en-GB" sz="2300" dirty="0"/>
              <a:t/>
            </a:r>
            <a:br>
              <a:rPr lang="en-GB" sz="2300" dirty="0"/>
            </a:br>
            <a:r>
              <a:rPr lang="en-GB" sz="2300" dirty="0">
                <a:solidFill>
                  <a:srgbClr val="FF0000"/>
                </a:solidFill>
              </a:rPr>
              <a:t>b)</a:t>
            </a:r>
            <a:r>
              <a:rPr lang="en-GB" sz="2300" dirty="0"/>
              <a:t> Most employer engagement </a:t>
            </a:r>
            <a:r>
              <a:rPr lang="en-GB" sz="2300" b="1" dirty="0"/>
              <a:t>wasn’t helpful </a:t>
            </a:r>
            <a:r>
              <a:rPr lang="en-GB" sz="2300" dirty="0"/>
              <a:t>in </a:t>
            </a:r>
            <a:r>
              <a:rPr lang="en-GB" sz="2300" u="sng" dirty="0">
                <a:solidFill>
                  <a:srgbClr val="0070C0"/>
                </a:solidFill>
              </a:rPr>
              <a:t>applying for university </a:t>
            </a:r>
            <a:r>
              <a:rPr lang="en-GB" sz="2300" b="1" dirty="0"/>
              <a:t>unless </a:t>
            </a:r>
            <a:r>
              <a:rPr lang="en-GB" sz="2300" dirty="0"/>
              <a:t>teenagers recalled </a:t>
            </a:r>
            <a:r>
              <a:rPr lang="en-GB" sz="2300" b="1" dirty="0"/>
              <a:t>4+ activities</a:t>
            </a:r>
            <a:br>
              <a:rPr lang="en-GB" sz="2300" b="1" dirty="0"/>
            </a:br>
            <a:r>
              <a:rPr lang="en-GB" sz="2300" b="1" dirty="0"/>
              <a:t/>
            </a:r>
            <a:br>
              <a:rPr lang="en-GB" sz="2300" b="1" dirty="0"/>
            </a:br>
            <a:r>
              <a:rPr lang="en-GB" sz="2300" dirty="0">
                <a:solidFill>
                  <a:srgbClr val="FF0000"/>
                </a:solidFill>
              </a:rPr>
              <a:t>c)</a:t>
            </a:r>
            <a:r>
              <a:rPr lang="en-GB" sz="2300" dirty="0"/>
              <a:t>Most employer engagement </a:t>
            </a:r>
            <a:r>
              <a:rPr lang="en-GB" sz="2300" b="1" dirty="0"/>
              <a:t>wasn’t helpful </a:t>
            </a:r>
            <a:r>
              <a:rPr lang="en-GB" sz="2300" dirty="0"/>
              <a:t>in </a:t>
            </a:r>
            <a:r>
              <a:rPr lang="en-GB" sz="2300" u="sng" dirty="0">
                <a:solidFill>
                  <a:srgbClr val="0070C0"/>
                </a:solidFill>
              </a:rPr>
              <a:t>applying for a full-time job</a:t>
            </a:r>
            <a:r>
              <a:rPr lang="en-GB" sz="2300" dirty="0"/>
              <a:t>, </a:t>
            </a:r>
            <a:r>
              <a:rPr lang="en-GB" sz="2300" b="1" dirty="0"/>
              <a:t>but </a:t>
            </a:r>
            <a:r>
              <a:rPr lang="en-GB" sz="2300" dirty="0"/>
              <a:t>participation in </a:t>
            </a:r>
            <a:r>
              <a:rPr lang="en-GB" sz="2300" b="1" dirty="0"/>
              <a:t>3+ activities made a big difference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27000" y="3124198"/>
          <a:ext cx="4038600" cy="3375971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1620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35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13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Decision making at age 16 (e.g. whether to stay on, what and where to study, whether to try and get a job)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73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Very helpful /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Fairly helpfu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t very helpful /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t at all helpful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5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5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9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ree tim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9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35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Four times or mor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49%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4305299" y="2957985"/>
            <a:ext cx="12700" cy="37338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4457698" y="3124196"/>
          <a:ext cx="3835400" cy="3375971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20645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62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745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272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Applying for university 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51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3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7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2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ree tim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7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3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49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our times or mor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3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48%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8445494" y="2996081"/>
            <a:ext cx="12700" cy="37338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8610589" y="3124194"/>
          <a:ext cx="3441712" cy="3388679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852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43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7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974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Applying for a full-time job</a:t>
                      </a:r>
                      <a:endParaRPr lang="en-GB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0557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9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2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3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ree tim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2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our times or mor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52%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51622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7965"/>
            <a:ext cx="10515600" cy="1325563"/>
          </a:xfrm>
        </p:spPr>
        <p:txBody>
          <a:bodyPr>
            <a:normAutofit/>
          </a:bodyPr>
          <a:lstStyle/>
          <a:p>
            <a:r>
              <a:rPr lang="en-GB" sz="3800" dirty="0">
                <a:solidFill>
                  <a:srgbClr val="002060"/>
                </a:solidFill>
              </a:rPr>
              <a:t>If you found the activities helpful, tell us the reason…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804577"/>
              </p:ext>
            </p:extLst>
          </p:nvPr>
        </p:nvGraphicFramePr>
        <p:xfrm>
          <a:off x="284796" y="1542099"/>
          <a:ext cx="4675824" cy="498811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8429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19805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 When applying for university…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Valid Percent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provided me with something to write about in my UCAS application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64.3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provided me with something to talk about at interview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0.3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the subject I wanted to study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3.8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on the institution I wanted to study at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18.5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confidence to apply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2.4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which subjects/options to choose while still at school/colleg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9.5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motivated me to work as hard while in school/colleg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4.4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used someone I met as a refere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6.7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Total responded 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465 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5" name="Oval 4"/>
          <p:cNvSpPr/>
          <p:nvPr/>
        </p:nvSpPr>
        <p:spPr>
          <a:xfrm>
            <a:off x="4263390" y="2308860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/>
          <p:cNvSpPr/>
          <p:nvPr/>
        </p:nvSpPr>
        <p:spPr>
          <a:xfrm>
            <a:off x="4263390" y="5193030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4263390" y="3363278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460228"/>
              </p:ext>
            </p:extLst>
          </p:nvPr>
        </p:nvGraphicFramePr>
        <p:xfrm>
          <a:off x="5737860" y="1542099"/>
          <a:ext cx="6252210" cy="512012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54406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15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 When</a:t>
                      </a:r>
                      <a:r>
                        <a:rPr lang="en-US" sz="1300" b="1" baseline="0" dirty="0">
                          <a:solidFill>
                            <a:schemeClr val="bg1"/>
                          </a:solidFill>
                          <a:effectLst/>
                        </a:rPr>
                        <a:t> applying for jobs…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Valid Percent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with something to use in a job application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47.5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motivation to succeed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9.7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something to talk about at a job interview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7.5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confidence to apply for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1.4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learned how to produce a good CV or application	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49.1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practice my interview skills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9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taught me what it is really like to work in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2.8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make better choices about what I studied whilst still in education/training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8.1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understand what I needed to do to get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25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offered me a proper job (e.g., part-time job) which proved useful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2.7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gave me a referenc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4.4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gave me good advic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1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improved my soft skills / employability skills (</a:t>
                      </a:r>
                      <a:r>
                        <a:rPr lang="en-US" sz="1300" dirty="0" err="1">
                          <a:effectLst/>
                        </a:rPr>
                        <a:t>eg</a:t>
                      </a:r>
                      <a:r>
                        <a:rPr lang="en-US" sz="1300" dirty="0">
                          <a:effectLst/>
                        </a:rPr>
                        <a:t>, communicating, team working)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44.6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Total responded 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40 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cxnSp>
        <p:nvCxnSpPr>
          <p:cNvPr id="10" name="Shape 376"/>
          <p:cNvCxnSpPr/>
          <p:nvPr/>
        </p:nvCxnSpPr>
        <p:spPr>
          <a:xfrm>
            <a:off x="5342890" y="1542099"/>
            <a:ext cx="12700" cy="5273379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12" name="Oval 11"/>
          <p:cNvSpPr/>
          <p:nvPr/>
        </p:nvSpPr>
        <p:spPr>
          <a:xfrm>
            <a:off x="11353800" y="3121105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>
          <a:xfrm>
            <a:off x="11349990" y="1921550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l 13"/>
          <p:cNvSpPr/>
          <p:nvPr/>
        </p:nvSpPr>
        <p:spPr>
          <a:xfrm>
            <a:off x="11349990" y="5802273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1962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Young adults’ perceptions on how schools and colleges could have better prepared them for the working wor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377440"/>
            <a:ext cx="10972800" cy="37719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: </a:t>
            </a:r>
          </a:p>
          <a:p>
            <a:pPr algn="l">
              <a:buNone/>
            </a:pPr>
            <a:endParaRPr lang="en-GB" sz="1900" b="1" dirty="0"/>
          </a:p>
          <a:p>
            <a:pPr algn="l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Young adults would have welcomed greater preparation for the working world from their schools and colleges – with greatest demand from young women and adults from disadvantaged backgrounds and greatest demand for practical information and job-finding skills</a:t>
            </a:r>
          </a:p>
        </p:txBody>
      </p:sp>
    </p:spTree>
    <p:extLst>
      <p:ext uri="{BB962C8B-B14F-4D97-AF65-F5344CB8AC3E}">
        <p14:creationId xmlns:p14="http://schemas.microsoft.com/office/powerpoint/2010/main" val="17337197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4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76" name="Shape 376"/>
          <p:cNvCxnSpPr/>
          <p:nvPr/>
        </p:nvCxnSpPr>
        <p:spPr>
          <a:xfrm>
            <a:off x="5999480" y="365080"/>
            <a:ext cx="12700" cy="629861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65735"/>
              </p:ext>
            </p:extLst>
          </p:nvPr>
        </p:nvGraphicFramePr>
        <p:xfrm>
          <a:off x="301016" y="739776"/>
          <a:ext cx="5368264" cy="5633154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46863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18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5030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Given what you know now, would you have welcomed more help in any of the following areas while at school/college?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How to create a good CV, or write a good applica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8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perform well at interview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60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he tax/benefit systems work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9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employers actually recruit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manage money once you had incom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38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he world of work is changing and which skills are likely to be demanded in futur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55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find a job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find out what different jobs require in terms of skills, attitudes and qualification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job centres and employment agencies work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02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run your own enterprise/busines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541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How to get a part-time job whilst still at school or colleg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200">
                          <a:effectLst/>
                        </a:rPr>
                        <a:t>3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08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get into University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18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get an Apprenticeship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common it is to do a job which people of your gender don’t normally do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2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331992"/>
              </p:ext>
            </p:extLst>
          </p:nvPr>
        </p:nvGraphicFramePr>
        <p:xfrm>
          <a:off x="6342380" y="739777"/>
          <a:ext cx="5608294" cy="5626731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5577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97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76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1578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9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495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859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159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6503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Ma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Fema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Non-selective Stat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Independent</a:t>
                      </a:r>
                      <a:endParaRPr lang="en-GB" sz="120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School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Free School Meal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Parent with no degre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Ethnic minority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White British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7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8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9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8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3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7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55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5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2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02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541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2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08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2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18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2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1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2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4977130" y="138366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6882764" y="138366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10169524" y="245046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00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What schools and colleges did to help young adults succeed in the adult working wor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14550"/>
            <a:ext cx="11106150" cy="4423410"/>
          </a:xfrm>
        </p:spPr>
        <p:txBody>
          <a:bodyPr/>
          <a:lstStyle/>
          <a:p>
            <a:pPr algn="l">
              <a:buNone/>
            </a:pPr>
            <a:r>
              <a:rPr lang="en-GB" sz="1600" b="1" dirty="0"/>
              <a:t>Key findings: </a:t>
            </a:r>
          </a:p>
          <a:p>
            <a:pPr algn="l"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Higher volumes of school-mediated employer engagement are associated with reduced incidence of NEET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Undertaking individual employer engagement activities is associated with reduced incidence of being NEET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Pre-16 participation in Job shadowing is associated with an adult wage premium of 11%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Young adults who found their school-mediated employer engagement activities ‘helpful in getting a job’, earned up to 16.4% more than peers who did not take part in any activities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Young adults experienced wage premiums linked to individual activities when undertaken within school(s) which they felt had prepared them well for adult life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Wage premiums of up to £3,500 can be identified linked to teenage participation in school-mediated employer engagement activities</a:t>
            </a:r>
          </a:p>
          <a:p>
            <a:pPr algn="l">
              <a:buNone/>
            </a:pP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24557872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6744" y="645014"/>
            <a:ext cx="10515600" cy="1325562"/>
          </a:xfrm>
        </p:spPr>
        <p:txBody>
          <a:bodyPr>
            <a:normAutofit/>
          </a:bodyPr>
          <a:lstStyle/>
          <a:p>
            <a:pPr algn="ctr"/>
            <a:r>
              <a:rPr lang="en-GB" sz="3200" b="1" dirty="0"/>
              <a:t>Higher volumes of school-mediated employer engagement are associated with </a:t>
            </a:r>
            <a:r>
              <a:rPr lang="en-GB" sz="3200" b="1" dirty="0">
                <a:solidFill>
                  <a:srgbClr val="0070C0"/>
                </a:solidFill>
              </a:rPr>
              <a:t>reduced incidence of NEET</a:t>
            </a:r>
            <a:endParaRPr lang="en-GB" sz="2900" b="1" dirty="0">
              <a:solidFill>
                <a:srgbClr val="0070C0"/>
              </a:solidFill>
              <a:latin typeface="+mn-lt"/>
            </a:endParaRPr>
          </a:p>
        </p:txBody>
      </p:sp>
      <p:cxnSp>
        <p:nvCxnSpPr>
          <p:cNvPr id="7" name="Horizontal Line"/>
          <p:cNvCxnSpPr/>
          <p:nvPr>
            <p:custDataLst>
              <p:tags r:id="rId2"/>
            </p:custDataLst>
          </p:nvPr>
        </p:nvCxnSpPr>
        <p:spPr>
          <a:xfrm>
            <a:off x="1471414" y="2610719"/>
            <a:ext cx="2899386" cy="1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stLeanHorizontalTextTopic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1414" y="2310905"/>
            <a:ext cx="2863642" cy="243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3000"/>
              </a:lnSpc>
              <a:spcBef>
                <a:spcPts val="300"/>
              </a:spcBef>
              <a:buClr>
                <a:prstClr val="black"/>
              </a:buClr>
              <a:buSzPct val="100000"/>
            </a:pPr>
            <a:r>
              <a:rPr lang="en-GB" sz="170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Control variables </a:t>
            </a:r>
          </a:p>
        </p:txBody>
      </p:sp>
      <p:sp>
        <p:nvSpPr>
          <p:cNvPr id="9" name="ListLeanHorizontalTextDetail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1414" y="2723429"/>
            <a:ext cx="2863642" cy="280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4625" indent="-174625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Age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Highest qualification (L1-L5)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Ethnicity (white </a:t>
            </a:r>
            <a:r>
              <a:rPr lang="en-GB" sz="1700" b="0" kern="1200" dirty="0" err="1">
                <a:solidFill>
                  <a:prstClr val="black"/>
                </a:solidFill>
                <a:latin typeface="Calibri Light" panose="020F0302020204030204"/>
                <a:ea typeface="+mn-ea"/>
              </a:rPr>
              <a:t>vs</a:t>
            </a: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 non-white)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Region of UK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School type 14-16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School type 16-19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Gender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Parental education 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Free School Meal 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4714696" y="2346167"/>
            <a:ext cx="301804" cy="3565598"/>
            <a:chOff x="6881585" y="2561771"/>
            <a:chExt cx="155575" cy="3436261"/>
          </a:xfrm>
        </p:grpSpPr>
        <p:cxnSp>
          <p:nvCxnSpPr>
            <p:cNvPr id="42" name="VLine"/>
            <p:cNvCxnSpPr/>
            <p:nvPr/>
          </p:nvCxnSpPr>
          <p:spPr>
            <a:xfrm>
              <a:off x="6940059" y="2561771"/>
              <a:ext cx="0" cy="3436261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cxnSp>
        <p:sp>
          <p:nvSpPr>
            <p:cNvPr id="43" name="IsoclesTriangle"/>
            <p:cNvSpPr/>
            <p:nvPr/>
          </p:nvSpPr>
          <p:spPr>
            <a:xfrm rot="5400000">
              <a:off x="6778398" y="4202114"/>
              <a:ext cx="361950" cy="155575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ctr"/>
            <a:lstStyle/>
            <a:p>
              <a:pPr algn="ctr">
                <a:lnSpc>
                  <a:spcPct val="93000"/>
                </a:lnSpc>
                <a:spcBef>
                  <a:spcPts val="300"/>
                </a:spcBef>
              </a:pPr>
              <a:endParaRPr lang="en-GB" sz="1300" kern="12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pic>
        <p:nvPicPr>
          <p:cNvPr id="53" name="Picture 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15599" y="79180"/>
            <a:ext cx="1676400" cy="571890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1373425" y="5911765"/>
            <a:ext cx="1879041" cy="321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93000"/>
              </a:lnSpc>
              <a:spcBef>
                <a:spcPts val="300"/>
              </a:spcBef>
              <a:buClr>
                <a:prstClr val="black"/>
              </a:buClr>
              <a:buSzPct val="100000"/>
            </a:pPr>
            <a:r>
              <a:rPr lang="en-GB" sz="16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  <a:sym typeface="Wingdings" pitchFamily="2" charset="2"/>
              </a:rPr>
              <a:t>  </a:t>
            </a:r>
            <a:r>
              <a:rPr lang="en-GB" sz="1600" u="sng" kern="1200" dirty="0">
                <a:solidFill>
                  <a:srgbClr val="44546A"/>
                </a:solidFill>
                <a:latin typeface="Calibri" panose="020F0502020204030204"/>
                <a:ea typeface="+mn-ea"/>
                <a:cs typeface="+mn-cs"/>
                <a:sym typeface="Wingdings" pitchFamily="2" charset="2"/>
              </a:rPr>
              <a:t>1,536 individuals</a:t>
            </a:r>
            <a:endParaRPr lang="en-GB" sz="1600" u="sng" kern="1200" dirty="0">
              <a:solidFill>
                <a:srgbClr val="44546A"/>
              </a:solidFill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/>
          </p:nvPr>
        </p:nvGraphicFramePr>
        <p:xfrm>
          <a:off x="5334000" y="2429627"/>
          <a:ext cx="5918200" cy="3352801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25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1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759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0000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921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13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959116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      Correct: 92.7%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B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.E.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P-value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Odds of becoming NEET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9978">
                <a:tc rowSpan="4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One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-.577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.251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22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44%</a:t>
                      </a:r>
                      <a:r>
                        <a:rPr lang="en-GB" sz="1200" dirty="0">
                          <a:effectLst/>
                        </a:rPr>
                        <a:t> less likely comparing to those who did zero activity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wo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-.791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.301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9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56%</a:t>
                      </a:r>
                      <a:r>
                        <a:rPr lang="en-GB" sz="1200" dirty="0">
                          <a:effectLst/>
                        </a:rPr>
                        <a:t> less</a:t>
                      </a:r>
                      <a:r>
                        <a:rPr lang="en-GB" sz="1200" baseline="0" dirty="0">
                          <a:effectLst/>
                        </a:rPr>
                        <a:t> likely comparing to those who did zero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hree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-1.879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.650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4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85%</a:t>
                      </a:r>
                      <a:r>
                        <a:rPr lang="en-GB" sz="1200" dirty="0">
                          <a:effectLst/>
                        </a:rPr>
                        <a:t> less likely comparing</a:t>
                      </a:r>
                      <a:r>
                        <a:rPr lang="en-GB" sz="1200" baseline="0" dirty="0">
                          <a:effectLst/>
                        </a:rPr>
                        <a:t> to those who did zero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Four</a:t>
                      </a:r>
                      <a:r>
                        <a:rPr lang="en-GB" sz="1200" baseline="0" dirty="0">
                          <a:effectLst/>
                        </a:rPr>
                        <a:t> or more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-1.907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.554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1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86%</a:t>
                      </a:r>
                      <a:r>
                        <a:rPr lang="en-GB" sz="1200" dirty="0">
                          <a:effectLst/>
                        </a:rPr>
                        <a:t> less likely comparing to those who did zero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866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651070"/>
            <a:ext cx="10515600" cy="1106488"/>
          </a:xfrm>
        </p:spPr>
        <p:txBody>
          <a:bodyPr>
            <a:normAutofit/>
          </a:bodyPr>
          <a:lstStyle/>
          <a:p>
            <a:pPr algn="ctr"/>
            <a:r>
              <a:rPr lang="en-GB" sz="3000" b="1" dirty="0"/>
              <a:t>Undertaking individual employer engagement activities is associated with </a:t>
            </a:r>
            <a:r>
              <a:rPr lang="en-GB" sz="3000" b="1" dirty="0">
                <a:solidFill>
                  <a:srgbClr val="0070C0"/>
                </a:solidFill>
              </a:rPr>
              <a:t>reduced incidence of being NEE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5599" y="79180"/>
            <a:ext cx="1676400" cy="571890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38454"/>
              </p:ext>
            </p:extLst>
          </p:nvPr>
        </p:nvGraphicFramePr>
        <p:xfrm>
          <a:off x="1485900" y="1854200"/>
          <a:ext cx="9182100" cy="4406900"/>
        </p:xfrm>
        <a:graphic>
          <a:graphicData uri="http://schemas.openxmlformats.org/drawingml/2006/table">
            <a:tbl>
              <a:tblPr firstRow="1" firstCol="1" bandRow="1"/>
              <a:tblGrid>
                <a:gridCol w="23297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234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416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 14-16… 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eer talks with employer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1% less likely to be NEET than peers who did not do the activity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prise competition with employ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% less likely to be NEET than peers who did not do the activit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 experience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5% less likely to be NEET than peers who did not do the activit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16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 16-19…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eer talks with employer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8% less likely to be NEET than peers who did not do the activity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prise competition with employ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0% less likely to be NEET than peers who did not do the activity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 experience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4% less likely to be NEET than peers who did not do the activity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4366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Shape 386"/>
          <p:cNvSpPr txBox="1">
            <a:spLocks noGrp="1"/>
          </p:cNvSpPr>
          <p:nvPr>
            <p:ph type="title"/>
          </p:nvPr>
        </p:nvSpPr>
        <p:spPr>
          <a:xfrm>
            <a:off x="584200" y="482600"/>
            <a:ext cx="10490100" cy="11175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GB" sz="288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ng adults experienced wage premiums linked to individual activities where they felt their school(s) had prepared them well for adult life </a:t>
            </a:r>
          </a:p>
        </p:txBody>
      </p:sp>
      <p:pic>
        <p:nvPicPr>
          <p:cNvPr id="387" name="Shape 38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88" name="Shape 388"/>
          <p:cNvGraphicFramePr/>
          <p:nvPr>
            <p:extLst>
              <p:ext uri="{D42A27DB-BD31-4B8C-83A1-F6EECF244321}">
                <p14:modId xmlns:p14="http://schemas.microsoft.com/office/powerpoint/2010/main" val="33354212"/>
              </p:ext>
            </p:extLst>
          </p:nvPr>
        </p:nvGraphicFramePr>
        <p:xfrm>
          <a:off x="1079500" y="1748792"/>
          <a:ext cx="9859010" cy="4930919"/>
        </p:xfrm>
        <a:graphic>
          <a:graphicData uri="http://schemas.openxmlformats.org/drawingml/2006/table">
            <a:tbl>
              <a:tblPr>
                <a:noFill/>
                <a:tableStyleId>{C68ABAD3-AA38-4938-9A59-5979D318BD6F}</a:tableStyleId>
              </a:tblPr>
              <a:tblGrid>
                <a:gridCol w="58830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876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883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2556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 i="1" dirty="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mployer engagement activity</a:t>
                      </a:r>
                    </a:p>
                  </a:txBody>
                  <a:tcPr marL="68575" marR="68575" marT="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mium (expressed in percentage terms)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mium (expressed in cash terms)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3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.7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585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r plus engagement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4.8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340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.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648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r plus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6.4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592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into university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.5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86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into university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r plus engagements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3,47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nterprise competition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1,73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entoring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9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3,004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678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Job Shadowing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1,73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entoring 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t 16-18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8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84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72" r="12223"/>
          <a:stretch/>
        </p:blipFill>
        <p:spPr>
          <a:xfrm>
            <a:off x="5159188" y="0"/>
            <a:ext cx="7032812" cy="6858001"/>
          </a:xfrm>
          <a:prstGeom prst="rect">
            <a:avLst/>
          </a:prstGeom>
        </p:spPr>
      </p:pic>
      <p:sp>
        <p:nvSpPr>
          <p:cNvPr id="7" name="Shape 111"/>
          <p:cNvSpPr/>
          <p:nvPr/>
        </p:nvSpPr>
        <p:spPr>
          <a:xfrm>
            <a:off x="0" y="0"/>
            <a:ext cx="6736976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82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59976" y="1444411"/>
            <a:ext cx="6181165" cy="496770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Quantity matters</a:t>
            </a:r>
            <a:r>
              <a:rPr lang="en-GB" sz="1900" b="1" dirty="0"/>
              <a:t>: </a:t>
            </a:r>
            <a:r>
              <a:rPr lang="en-GB" sz="1900" dirty="0"/>
              <a:t>greater volume of school-mediated employer engagement is associated with better economic outcomes</a:t>
            </a:r>
          </a:p>
          <a:p>
            <a:pPr>
              <a:lnSpc>
                <a:spcPct val="150000"/>
              </a:lnSpc>
              <a:buNone/>
            </a:pPr>
            <a:endParaRPr lang="en-GB" sz="1900" dirty="0"/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Quality matters</a:t>
            </a:r>
            <a:r>
              <a:rPr lang="en-GB" sz="1900" b="1" dirty="0"/>
              <a:t>:  </a:t>
            </a:r>
            <a:r>
              <a:rPr lang="en-GB" sz="1900" dirty="0"/>
              <a:t>more highly regarded employer engagement is associated with better economic outcomes</a:t>
            </a:r>
          </a:p>
          <a:p>
            <a:pPr>
              <a:lnSpc>
                <a:spcPct val="150000"/>
              </a:lnSpc>
              <a:buNone/>
            </a:pPr>
            <a:endParaRPr lang="en-GB" sz="1900" dirty="0"/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Equity matters</a:t>
            </a:r>
            <a:r>
              <a:rPr lang="en-GB" sz="1900" b="1" dirty="0"/>
              <a:t>: </a:t>
            </a:r>
            <a:r>
              <a:rPr lang="en-GB" sz="1900" dirty="0"/>
              <a:t>access to school-mediated employer engagement is not fairly distributed</a:t>
            </a:r>
          </a:p>
          <a:p>
            <a:pPr marL="342900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GB" sz="1900" b="1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9976" y="634622"/>
            <a:ext cx="10972800" cy="727799"/>
          </a:xfrm>
        </p:spPr>
        <p:txBody>
          <a:bodyPr/>
          <a:lstStyle/>
          <a:p>
            <a:r>
              <a:rPr lang="en-GB" sz="2800" b="1" dirty="0"/>
              <a:t>Implications for policy and practice</a:t>
            </a:r>
          </a:p>
        </p:txBody>
      </p:sp>
    </p:spTree>
    <p:extLst>
      <p:ext uri="{BB962C8B-B14F-4D97-AF65-F5344CB8AC3E}">
        <p14:creationId xmlns:p14="http://schemas.microsoft.com/office/powerpoint/2010/main" val="2705373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41569" y="1978567"/>
            <a:ext cx="4948518" cy="1925644"/>
          </a:xfrm>
        </p:spPr>
        <p:txBody>
          <a:bodyPr/>
          <a:lstStyle/>
          <a:p>
            <a:pPr algn="ctr"/>
            <a: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ank you for your time! </a:t>
            </a:r>
            <a:endParaRPr lang="en-GB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05947" y="4058116"/>
            <a:ext cx="4128246" cy="852787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accent4">
                    <a:lumMod val="60000"/>
                    <a:lumOff val="40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Questions and feedback? </a:t>
            </a:r>
            <a:endParaRPr lang="en-GB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Shape 416"/>
          <p:cNvSpPr txBox="1"/>
          <p:nvPr/>
        </p:nvSpPr>
        <p:spPr>
          <a:xfrm>
            <a:off x="-227285" y="4910903"/>
            <a:ext cx="6394710" cy="939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en-GB" sz="1800" u="sng" dirty="0">
                <a:solidFill>
                  <a:schemeClr val="hlink"/>
                </a:solidFill>
                <a:hlinkClick r:id="rId2"/>
              </a:rPr>
              <a:t>Elnaz.kashef@educationandemployers.org</a:t>
            </a:r>
            <a:r>
              <a:rPr lang="en-GB" sz="1800" dirty="0"/>
              <a:t> </a:t>
            </a:r>
          </a:p>
          <a:p>
            <a:pPr lvl="0" algn="ctr">
              <a:spcBef>
                <a:spcPts val="0"/>
              </a:spcBef>
              <a:buNone/>
            </a:pPr>
            <a:r>
              <a:rPr lang="en-GB" sz="1800" u="sng" dirty="0" smtClean="0">
                <a:solidFill>
                  <a:schemeClr val="hlink"/>
                </a:solidFill>
                <a:hlinkClick r:id="rId3"/>
              </a:rPr>
              <a:t>www.educatioandemployers.org/research</a:t>
            </a:r>
            <a:r>
              <a:rPr lang="en-GB" sz="1800" u="sng" dirty="0" smtClean="0">
                <a:solidFill>
                  <a:schemeClr val="hlink"/>
                </a:solidFill>
              </a:rPr>
              <a:t>-main</a:t>
            </a:r>
            <a:r>
              <a:rPr lang="en-GB" sz="1800" dirty="0" smtClean="0"/>
              <a:t> </a:t>
            </a:r>
            <a:endParaRPr lang="en-GB" sz="1800" dirty="0"/>
          </a:p>
          <a:p>
            <a:pPr lvl="0" algn="ctr">
              <a:spcBef>
                <a:spcPts val="0"/>
              </a:spcBef>
              <a:buNone/>
            </a:pPr>
            <a:r>
              <a:rPr lang="en-GB" sz="1800" dirty="0">
                <a:solidFill>
                  <a:srgbClr val="0070C0"/>
                </a:solidFill>
              </a:rPr>
              <a:t>@</a:t>
            </a:r>
            <a:r>
              <a:rPr lang="en-GB" sz="1800" dirty="0" err="1">
                <a:solidFill>
                  <a:srgbClr val="0070C0"/>
                </a:solidFill>
              </a:rPr>
              <a:t>Edu_EResearch</a:t>
            </a:r>
            <a:r>
              <a:rPr lang="en-GB" sz="1800" dirty="0">
                <a:solidFill>
                  <a:srgbClr val="0070C0"/>
                </a:solidFill>
              </a:rPr>
              <a:t> </a:t>
            </a:r>
          </a:p>
          <a:p>
            <a:pPr lvl="0" algn="ctr">
              <a:spcBef>
                <a:spcPts val="0"/>
              </a:spcBef>
              <a:buNone/>
            </a:pPr>
            <a:endParaRPr sz="1800" dirty="0"/>
          </a:p>
        </p:txBody>
      </p:sp>
      <p:pic>
        <p:nvPicPr>
          <p:cNvPr id="7" name="Shape 4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09970" y="786171"/>
            <a:ext cx="2920200" cy="996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980" y="1284321"/>
            <a:ext cx="6646019" cy="456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934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/>
          <p:nvPr/>
        </p:nvSpPr>
        <p:spPr>
          <a:xfrm>
            <a:off x="0" y="0"/>
            <a:ext cx="8470900" cy="6858000"/>
          </a:xfrm>
          <a:prstGeom prst="rect">
            <a:avLst/>
          </a:prstGeom>
          <a:solidFill>
            <a:srgbClr val="000000">
              <a:alpha val="82000"/>
            </a:srgb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112" name="Shape 112"/>
          <p:cNvSpPr txBox="1">
            <a:spLocks noGrp="1"/>
          </p:cNvSpPr>
          <p:nvPr>
            <p:ph type="title"/>
          </p:nvPr>
        </p:nvSpPr>
        <p:spPr>
          <a:xfrm>
            <a:off x="266701" y="689776"/>
            <a:ext cx="5537200" cy="7277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-GB" b="1" dirty="0"/>
              <a:t>In the past…</a:t>
            </a:r>
            <a:endParaRPr lang="en" dirty="0"/>
          </a:p>
        </p:txBody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193338" y="1651001"/>
            <a:ext cx="8188662" cy="49677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GB" sz="2400" dirty="0"/>
              <a:t>Mann, A.&amp; Percy, C. “Employer engagement in British secondary education: wage earning outcomes experienced by young adults.” Journal of Education and Work 27:5, 496-523</a:t>
            </a:r>
            <a:br>
              <a:rPr lang="en-GB" sz="2400" dirty="0"/>
            </a:br>
            <a:r>
              <a:rPr lang="en-GB" sz="2400" dirty="0"/>
              <a:t> </a:t>
            </a:r>
          </a:p>
          <a:p>
            <a:pPr>
              <a:buNone/>
            </a:pPr>
            <a:endParaRPr lang="en-GB" sz="2400" dirty="0"/>
          </a:p>
          <a:p>
            <a:pPr>
              <a:buNone/>
            </a:pPr>
            <a:r>
              <a:rPr lang="en-GB" sz="2400" dirty="0"/>
              <a:t>Percy, C. &amp; A. Mann. 2014. “School-mediated employer engagement and labour market outcomes for young adults: wage </a:t>
            </a:r>
            <a:r>
              <a:rPr lang="en-GB" sz="2400" dirty="0" err="1"/>
              <a:t>premia</a:t>
            </a:r>
            <a:r>
              <a:rPr lang="en-GB" sz="2400" dirty="0"/>
              <a:t>, NEET outcomes and career confidence.” In Mann. A. et al. </a:t>
            </a:r>
            <a:r>
              <a:rPr lang="en-GB" sz="2400" i="1" dirty="0"/>
              <a:t>Understanding Employer Engagement in Education: Theories and Evidence</a:t>
            </a:r>
            <a:r>
              <a:rPr lang="en-GB" sz="2400" dirty="0"/>
              <a:t>. London: Routledge</a:t>
            </a:r>
            <a:r>
              <a:rPr lang="en-GB" sz="1800" dirty="0"/>
              <a:t/>
            </a:r>
            <a:br>
              <a:rPr lang="en-GB" sz="1800" dirty="0"/>
            </a:br>
            <a:endParaRPr lang="en" sz="2400" dirty="0"/>
          </a:p>
        </p:txBody>
      </p:sp>
    </p:spTree>
    <p:extLst>
      <p:ext uri="{BB962C8B-B14F-4D97-AF65-F5344CB8AC3E}">
        <p14:creationId xmlns:p14="http://schemas.microsoft.com/office/powerpoint/2010/main" val="25954129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12631"/>
            <a:ext cx="10972800" cy="864709"/>
          </a:xfrm>
        </p:spPr>
        <p:txBody>
          <a:bodyPr/>
          <a:lstStyle/>
          <a:p>
            <a:r>
              <a:rPr lang="en-GB" b="1" dirty="0"/>
              <a:t>New report published this wee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57593"/>
            <a:ext cx="10972800" cy="4876260"/>
          </a:xfrm>
        </p:spPr>
        <p:txBody>
          <a:bodyPr/>
          <a:lstStyle/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Survey </a:t>
            </a:r>
            <a:r>
              <a:rPr lang="en-GB" sz="2100" dirty="0" smtClean="0"/>
              <a:t>of 1,744 </a:t>
            </a:r>
            <a:r>
              <a:rPr lang="en-GB" sz="2100" dirty="0"/>
              <a:t>young people aged 19-24 in 2016 by </a:t>
            </a:r>
            <a:r>
              <a:rPr lang="en-GB" sz="2100" dirty="0" err="1"/>
              <a:t>Yougov</a:t>
            </a:r>
            <a:r>
              <a:rPr lang="en-GB" sz="2100" dirty="0"/>
              <a:t>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Twice the size compared to 2011 survey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Socially, geographically and demographically evenly distributed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 smtClean="0"/>
              <a:t>Frequency </a:t>
            </a:r>
            <a:r>
              <a:rPr lang="en-GB" sz="2100" dirty="0"/>
              <a:t>tables and descriptive, cross-tabulations and regressions using SPSS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Control variables: school type, parental education, free school meal, gender, ethnicity, region, education </a:t>
            </a:r>
            <a:r>
              <a:rPr lang="en-GB" sz="2100" dirty="0" smtClean="0"/>
              <a:t>level, age </a:t>
            </a:r>
            <a:endParaRPr lang="en-GB" sz="2100" dirty="0"/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endParaRPr lang="en-GB" sz="2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5387" y="240150"/>
            <a:ext cx="1816765" cy="944962"/>
          </a:xfrm>
          <a:prstGeom prst="rect">
            <a:avLst/>
          </a:prstGeom>
        </p:spPr>
      </p:pic>
      <p:pic>
        <p:nvPicPr>
          <p:cNvPr id="5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05386" y="1348590"/>
            <a:ext cx="1816765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13284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1530" y="2080259"/>
            <a:ext cx="7500000" cy="971575"/>
          </a:xfrm>
        </p:spPr>
        <p:txBody>
          <a:bodyPr/>
          <a:lstStyle/>
          <a:p>
            <a:r>
              <a:rPr lang="en-GB" dirty="0"/>
              <a:t>Content of the re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xfrm>
            <a:off x="914400" y="3051834"/>
            <a:ext cx="11107751" cy="273000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000" dirty="0"/>
              <a:t>Young adults’ recollection of school and college action to prepare them for the working world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/>
              <a:t>Young adults’ perceptions of how well their schools and colleges prepared them for working lif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/>
              <a:t>Young adults’ perceptions on how schools and colleges could have better prepared them for the working world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/>
              <a:t>What schools and colleges did to help young adults succeed in the adult working world</a:t>
            </a:r>
            <a:br>
              <a:rPr lang="en-GB" sz="2000" dirty="0"/>
            </a:br>
            <a:endParaRPr lang="en-GB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5387" y="240150"/>
            <a:ext cx="1816765" cy="944962"/>
          </a:xfrm>
          <a:prstGeom prst="rect">
            <a:avLst/>
          </a:prstGeom>
        </p:spPr>
      </p:pic>
      <p:pic>
        <p:nvPicPr>
          <p:cNvPr id="5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05386" y="1348590"/>
            <a:ext cx="1816765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5002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Young adults’ recollection of school and college action to prepare them for the working world</a:t>
            </a:r>
            <a:br>
              <a:rPr lang="en-GB" sz="2900" b="1" dirty="0"/>
            </a:br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931670"/>
            <a:ext cx="10972800" cy="43962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s: </a:t>
            </a:r>
          </a:p>
          <a:p>
            <a:pPr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Young adults attending selective and/or fee-paying institutions routinely recall greater levels of school-mediated employer engagement in terms of specific activities</a:t>
            </a:r>
          </a:p>
          <a:p>
            <a:pPr lvl="0" algn="l">
              <a:buNone/>
            </a:pPr>
            <a:endParaRPr lang="en-GB" sz="1900" dirty="0"/>
          </a:p>
          <a:p>
            <a:pPr lvl="0"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Young adults in 2016 recall 1.6 school-mediated engagements with employers: 22% greater employer engagement than in 2011</a:t>
            </a:r>
          </a:p>
          <a:p>
            <a:pPr lvl="0" algn="l">
              <a:buNone/>
            </a:pPr>
            <a:endParaRPr lang="en-GB" sz="1900" dirty="0"/>
          </a:p>
          <a:p>
            <a:pPr lvl="0"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Disadvantage is associated with lower levels of engagement: former recipients of Free School Meals and children of parents without experience of higher education recall lower levels of engagement</a:t>
            </a:r>
          </a:p>
          <a:p>
            <a:pPr algn="l">
              <a:buNone/>
            </a:pPr>
            <a:r>
              <a:rPr lang="en-GB" sz="1900" dirty="0"/>
              <a:t> </a:t>
            </a:r>
          </a:p>
        </p:txBody>
      </p:sp>
      <p:pic>
        <p:nvPicPr>
          <p:cNvPr id="7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6286200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1625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30" y="443153"/>
            <a:ext cx="11163300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56068" y="2600586"/>
            <a:ext cx="5181601" cy="762317"/>
          </a:xfrm>
        </p:spPr>
        <p:txBody>
          <a:bodyPr/>
          <a:lstStyle/>
          <a:p>
            <a:pPr marL="0" indent="0">
              <a:buNone/>
            </a:pPr>
            <a:r>
              <a:rPr lang="en-GB" sz="1700" dirty="0"/>
              <a:t>Participation in selected teenage engagements with employer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621030" y="1976718"/>
            <a:ext cx="5486400" cy="1682862"/>
          </a:xfrm>
        </p:spPr>
        <p:txBody>
          <a:bodyPr/>
          <a:lstStyle/>
          <a:p>
            <a:pPr marL="177800" indent="0">
              <a:buNone/>
            </a:pPr>
            <a:r>
              <a:rPr lang="en-GB" sz="1500" dirty="0"/>
              <a:t>Between the ages of 14 and 19, did your school or college ever arrange for you to take part in any activities which involved employers/local business people? E.g. work experience, mentoring, enterprise competitions, careers advice, CV or interview workshops, workplace visits. If so, on how many different occasions (more or less) did it happen?”</a:t>
            </a:r>
            <a:endParaRPr lang="en-GB" sz="15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476597"/>
              </p:ext>
            </p:extLst>
          </p:nvPr>
        </p:nvGraphicFramePr>
        <p:xfrm>
          <a:off x="6602730" y="3509682"/>
          <a:ext cx="5234940" cy="2998171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14080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34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934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undertaking at 14-16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undertaking at 16-19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Work experience 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74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Job shadow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9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8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Enterprise competition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0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6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Mentor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2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4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258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areer advice with employer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9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6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Part-time employmen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8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39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914300"/>
              </p:ext>
            </p:extLst>
          </p:nvPr>
        </p:nvGraphicFramePr>
        <p:xfrm>
          <a:off x="1200101" y="3709038"/>
          <a:ext cx="3630298" cy="2800795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15843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459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35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effectLst/>
                        </a:rPr>
                        <a:t>Percent in 2016</a:t>
                      </a:r>
                      <a:endParaRPr lang="en-GB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Neve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9.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Onc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.3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Twic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3.1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Three time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8.7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Four or more time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12.9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Average number 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.60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cxnSp>
        <p:nvCxnSpPr>
          <p:cNvPr id="9" name="Shape 376"/>
          <p:cNvCxnSpPr/>
          <p:nvPr/>
        </p:nvCxnSpPr>
        <p:spPr>
          <a:xfrm flipH="1">
            <a:off x="6270090" y="1855153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pic>
        <p:nvPicPr>
          <p:cNvPr id="10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032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30" y="443153"/>
            <a:ext cx="11163300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030" y="1855153"/>
            <a:ext cx="5181601" cy="762317"/>
          </a:xfrm>
        </p:spPr>
        <p:txBody>
          <a:bodyPr/>
          <a:lstStyle/>
          <a:p>
            <a:pPr marL="0" indent="0">
              <a:buNone/>
            </a:pPr>
            <a:r>
              <a:rPr lang="en-GB" sz="1700" dirty="0"/>
              <a:t>Volume of activities by school </a:t>
            </a:r>
            <a:r>
              <a:rPr lang="en-GB" sz="1700" dirty="0" smtClean="0"/>
              <a:t>type, </a:t>
            </a:r>
            <a:r>
              <a:rPr lang="en-GB" sz="1700" dirty="0"/>
              <a:t>14-16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6357354" y="1855152"/>
            <a:ext cx="5612128" cy="762317"/>
          </a:xfrm>
        </p:spPr>
        <p:txBody>
          <a:bodyPr/>
          <a:lstStyle/>
          <a:p>
            <a:pPr marL="177800" indent="0">
              <a:buNone/>
            </a:pPr>
            <a:r>
              <a:rPr lang="en-GB" sz="1700" dirty="0"/>
              <a:t>Volume by Indicators of social disadvantage: Free school meal and parental education</a:t>
            </a:r>
          </a:p>
        </p:txBody>
      </p:sp>
      <p:cxnSp>
        <p:nvCxnSpPr>
          <p:cNvPr id="9" name="Shape 376"/>
          <p:cNvCxnSpPr/>
          <p:nvPr/>
        </p:nvCxnSpPr>
        <p:spPr>
          <a:xfrm flipH="1">
            <a:off x="6344754" y="1855153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pic>
        <p:nvPicPr>
          <p:cNvPr id="10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024425"/>
              </p:ext>
            </p:extLst>
          </p:nvPr>
        </p:nvGraphicFramePr>
        <p:xfrm>
          <a:off x="402756" y="2627631"/>
          <a:ext cx="5723724" cy="3669865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34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61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2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53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6017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505664"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</a:rPr>
                        <a:t>N= 1,676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GB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effectLst/>
                        </a:rPr>
                        <a:t>School type</a:t>
                      </a:r>
                      <a:endParaRPr lang="en-GB" sz="11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9547"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dirty="0">
                          <a:effectLst/>
                        </a:rPr>
                        <a:t>comprehensive schoo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Grammar / selective state school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Independent / fee-paying school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5735"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Never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8.5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0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8.0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5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39.3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9.4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3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5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2.7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33.2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6.1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95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Three times 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8.3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0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0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3849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Four or more times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1.3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6.2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1.7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9456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Average number of activities 2016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 </a:t>
                      </a:r>
                      <a:endParaRPr lang="en-GB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1.54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1.92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1.74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3324121"/>
              </p:ext>
            </p:extLst>
          </p:nvPr>
        </p:nvGraphicFramePr>
        <p:xfrm>
          <a:off x="6598018" y="2724756"/>
          <a:ext cx="4957712" cy="112310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344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0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74102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=1,659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FSM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No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Yes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1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Average number of activities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 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63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50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55992"/>
              </p:ext>
            </p:extLst>
          </p:nvPr>
        </p:nvGraphicFramePr>
        <p:xfrm>
          <a:off x="6598018" y="4363056"/>
          <a:ext cx="4957712" cy="161504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344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0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0424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= 1,680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parents/carers went to university?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No, neither of them did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Yes, at least one of them did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1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Average number of activities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 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55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71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870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Young adults’ perceptions of how well their schools and colleges prepared them for working lif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48840"/>
            <a:ext cx="10972800" cy="37719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s: </a:t>
            </a:r>
          </a:p>
          <a:p>
            <a:pPr algn="l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Most young people educated in the state sector think that their schools prepared them poorly for adult working life </a:t>
            </a:r>
          </a:p>
          <a:p>
            <a:pPr lvl="0">
              <a:buNone/>
            </a:pPr>
            <a:endParaRPr lang="en-GB" sz="1900" dirty="0"/>
          </a:p>
          <a:p>
            <a:pPr lvl="0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Young adults who experienced greater volume of school-mediated employer engagement feel better prepared for the adult working world</a:t>
            </a:r>
          </a:p>
          <a:p>
            <a:pPr lvl="0">
              <a:buNone/>
            </a:pPr>
            <a:endParaRPr lang="en-GB" sz="1900" dirty="0"/>
          </a:p>
          <a:p>
            <a:pPr lvl="0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Most employer engagement was not helpful ( making decisions at age 16, applying for university, applying for jobs) unless teenagers recalled 3-4+ activities</a:t>
            </a:r>
          </a:p>
          <a:p>
            <a:pPr lvl="0">
              <a:buNone/>
            </a:pPr>
            <a:endParaRPr lang="en-GB" sz="1900" dirty="0"/>
          </a:p>
        </p:txBody>
      </p:sp>
      <p:pic>
        <p:nvPicPr>
          <p:cNvPr id="5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6286200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987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Shape 373"/>
          <p:cNvSpPr txBox="1">
            <a:spLocks noGrp="1"/>
          </p:cNvSpPr>
          <p:nvPr>
            <p:ph type="title"/>
          </p:nvPr>
        </p:nvSpPr>
        <p:spPr>
          <a:xfrm>
            <a:off x="406400" y="377293"/>
            <a:ext cx="10248900" cy="17136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25000"/>
              <a:buFont typeface="Calibri"/>
              <a:buNone/>
            </a:pPr>
            <a:r>
              <a:rPr lang="en-GB" sz="2300" b="0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a)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Most young people educated in the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te sector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ink that their schools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pared them poorly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adult working life; </a:t>
            </a:r>
            <a:b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2300" b="0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b)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Young adults who experienced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eater volume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 school-mediated employer engagement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eel better prepared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 the adult working world </a:t>
            </a:r>
          </a:p>
        </p:txBody>
      </p:sp>
      <p:pic>
        <p:nvPicPr>
          <p:cNvPr id="374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75" name="Shape 375"/>
          <p:cNvGraphicFramePr/>
          <p:nvPr>
            <p:extLst>
              <p:ext uri="{D42A27DB-BD31-4B8C-83A1-F6EECF244321}">
                <p14:modId xmlns:p14="http://schemas.microsoft.com/office/powerpoint/2010/main" val="862886579"/>
              </p:ext>
            </p:extLst>
          </p:nvPr>
        </p:nvGraphicFramePr>
        <p:xfrm>
          <a:off x="406400" y="2326413"/>
          <a:ext cx="5390400" cy="4341075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663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747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47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647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773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773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65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53325">
                <a:tc rowSpan="2"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P-Value: 0.00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School type at age 16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endParaRPr sz="1100">
                        <a:sym typeface="Corbel"/>
                      </a:endParaRP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Corbel"/>
                        <a:buNone/>
                      </a:pPr>
                      <a:r>
                        <a:rPr lang="en-GB" sz="1100">
                          <a:sym typeface="Corbel"/>
                        </a:rPr>
                        <a:t>N= </a:t>
                      </a:r>
                      <a:r>
                        <a:rPr lang="en-GB" sz="1000">
                          <a:sym typeface="Corbel"/>
                        </a:rPr>
                        <a:t>1,676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endParaRPr sz="1000">
                        <a:latin typeface="Cambria"/>
                        <a:ea typeface="Cambria"/>
                        <a:cs typeface="Cambria"/>
                        <a:sym typeface="Cambria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Looking back, how well do you feel that your school/college prepared you for adult working life?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5550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6725">
                <a:tc row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on-selective state school, i.e. comprehensive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9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3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3.0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81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Grammar / selective state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8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9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5.7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81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Independent / fee-paying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6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5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4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4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1100">
                <a:tc rowSpan="2"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ota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Count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02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91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7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0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8125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 dirty="0">
                          <a:sym typeface="Calibri"/>
                        </a:rPr>
                        <a:t>12.2%</a:t>
                      </a:r>
                      <a:endParaRPr lang="en-GB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cxnSp>
        <p:nvCxnSpPr>
          <p:cNvPr id="376" name="Shape 376"/>
          <p:cNvCxnSpPr/>
          <p:nvPr/>
        </p:nvCxnSpPr>
        <p:spPr>
          <a:xfrm flipH="1">
            <a:off x="6169760" y="2091001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accent5"/>
            </a:solidFill>
            <a:prstDash val="solid"/>
            <a:miter/>
            <a:headEnd type="none" w="med" len="med"/>
            <a:tailEnd type="none" w="med" len="med"/>
          </a:ln>
        </p:spPr>
      </p:cxnSp>
      <p:graphicFrame>
        <p:nvGraphicFramePr>
          <p:cNvPr id="377" name="Shape 377"/>
          <p:cNvGraphicFramePr/>
          <p:nvPr>
            <p:extLst>
              <p:ext uri="{D42A27DB-BD31-4B8C-83A1-F6EECF244321}">
                <p14:modId xmlns:p14="http://schemas.microsoft.com/office/powerpoint/2010/main" val="3204308358"/>
              </p:ext>
            </p:extLst>
          </p:nvPr>
        </p:nvGraphicFramePr>
        <p:xfrm>
          <a:off x="6636485" y="2326413"/>
          <a:ext cx="5034800" cy="4341000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57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24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85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7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364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47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602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041025">
                <a:tc rowSpan="2"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P-value: 0.00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olume of activities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endParaRPr sz="1100">
                        <a:sym typeface="Corbel"/>
                      </a:endParaRP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=1,756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Looking back, how well do you feel that your school/college prepared you for adult working life?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4025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7000">
                <a:tc rowSpan="5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ever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6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4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Once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7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2.9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wice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.7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8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.6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hree times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9.9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55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8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6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239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Four or more times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2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55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6.0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7000">
                <a:tc rowSpan="2"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ota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Count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0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2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0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1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7000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 dirty="0">
                          <a:sym typeface="Calibri"/>
                        </a:rPr>
                        <a:t>12.5%</a:t>
                      </a:r>
                      <a:endParaRPr lang="en-GB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78" name="Shape 378"/>
          <p:cNvSpPr/>
          <p:nvPr/>
        </p:nvSpPr>
        <p:spPr>
          <a:xfrm>
            <a:off x="4590314" y="3941367"/>
            <a:ext cx="11556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" name="Shape 379"/>
          <p:cNvSpPr/>
          <p:nvPr/>
        </p:nvSpPr>
        <p:spPr>
          <a:xfrm>
            <a:off x="3370376" y="5188744"/>
            <a:ext cx="11556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" name="Shape 380"/>
          <p:cNvSpPr/>
          <p:nvPr/>
        </p:nvSpPr>
        <p:spPr>
          <a:xfrm>
            <a:off x="10044227" y="3766344"/>
            <a:ext cx="15312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Shape 381"/>
          <p:cNvSpPr/>
          <p:nvPr/>
        </p:nvSpPr>
        <p:spPr>
          <a:xfrm>
            <a:off x="8513139" y="5265669"/>
            <a:ext cx="15312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qHVe_uwEiEDZL6RePo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RZyfAOqkWys7RZmMkw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qccaCpY0.nJdoFBHKK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yHcnA3E2ZuUlgqDm_eQ"/>
</p:tagLst>
</file>

<file path=ppt/theme/theme1.xml><?xml version="1.0" encoding="utf-8"?>
<a:theme xmlns:a="http://schemas.openxmlformats.org/drawingml/2006/main" name="Blank">
  <a:themeElements>
    <a:clrScheme name="Office">
      <a:dk1>
        <a:srgbClr val="000000"/>
      </a:dk1>
      <a:lt1>
        <a:srgbClr val="FFFFFF"/>
      </a:lt1>
      <a:dk2>
        <a:srgbClr val="6E747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85296"/>
      </a:hlink>
      <a:folHlink>
        <a:srgbClr val="99336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Hamlet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</TotalTime>
  <Words>2419</Words>
  <Application>Microsoft Office PowerPoint</Application>
  <PresentationFormat>Widescreen</PresentationFormat>
  <Paragraphs>610</Paragraphs>
  <Slides>19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Nixie One</vt:lpstr>
      <vt:lpstr>Calibri Light</vt:lpstr>
      <vt:lpstr>Arial</vt:lpstr>
      <vt:lpstr>Wingdings</vt:lpstr>
      <vt:lpstr>Cambria</vt:lpstr>
      <vt:lpstr>Corbel</vt:lpstr>
      <vt:lpstr>Raleway</vt:lpstr>
      <vt:lpstr>Courier New</vt:lpstr>
      <vt:lpstr>Calibri</vt:lpstr>
      <vt:lpstr>Blank</vt:lpstr>
      <vt:lpstr>Office Theme</vt:lpstr>
      <vt:lpstr>Hamlet template</vt:lpstr>
      <vt:lpstr>1_Office Theme</vt:lpstr>
      <vt:lpstr>2_Office Theme</vt:lpstr>
      <vt:lpstr>PowerPoint Presentation</vt:lpstr>
      <vt:lpstr>In the past…</vt:lpstr>
      <vt:lpstr>New report published this week</vt:lpstr>
      <vt:lpstr>Content of the report</vt:lpstr>
      <vt:lpstr>Young adults’ recollection of school and college action to prepare them for the working world </vt:lpstr>
      <vt:lpstr>Distribution of employer engagement activities</vt:lpstr>
      <vt:lpstr>Distribution of employer engagement activities</vt:lpstr>
      <vt:lpstr>Young adults’ perceptions of how well their schools and colleges prepared them for working life</vt:lpstr>
      <vt:lpstr>a) Most young people educated in the state sector think that their schools prepared them poorly for adult working life;   b) Young adults who experienced greater volume of school-mediated employer engagement feel better prepared for the adult working world </vt:lpstr>
      <vt:lpstr>a) Most employer engagement wasn’t helpful in making decisions at age 16 unless teenagers recalled 4+ activities  b) Most employer engagement wasn’t helpful in applying for university unless teenagers recalled 4+ activities  c)Most employer engagement wasn’t helpful in applying for a full-time job, but participation in 3+ activities made a big difference </vt:lpstr>
      <vt:lpstr>If you found the activities helpful, tell us the reason…</vt:lpstr>
      <vt:lpstr>Young adults’ perceptions on how schools and colleges could have better prepared them for the working world</vt:lpstr>
      <vt:lpstr>PowerPoint Presentation</vt:lpstr>
      <vt:lpstr>What schools and colleges did to help young adults succeed in the adult working world</vt:lpstr>
      <vt:lpstr>Higher volumes of school-mediated employer engagement are associated with reduced incidence of NEET</vt:lpstr>
      <vt:lpstr>Undertaking individual employer engagement activities is associated with reduced incidence of being NEET</vt:lpstr>
      <vt:lpstr>Young adults experienced wage premiums linked to individual activities where they felt their school(s) had prepared them well for adult life </vt:lpstr>
      <vt:lpstr>Implications for policy and practice</vt:lpstr>
      <vt:lpstr>Thank you for your time!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 Elnaz T. Kashefpakdel  Senior Researcher | Education and Employers  elnaz.kashef@educationandemployers.org</dc:title>
  <dc:creator>Elnaz Kashef</dc:creator>
  <cp:lastModifiedBy>Elnaz Kashef</cp:lastModifiedBy>
  <cp:revision>53</cp:revision>
  <cp:lastPrinted>2017-01-17T10:55:20Z</cp:lastPrinted>
  <dcterms:modified xsi:type="dcterms:W3CDTF">2017-01-31T13:44:17Z</dcterms:modified>
</cp:coreProperties>
</file>